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21" r:id="rId2"/>
    <p:sldId id="2119" r:id="rId3"/>
    <p:sldId id="2122" r:id="rId4"/>
    <p:sldId id="2124" r:id="rId5"/>
    <p:sldId id="2123" r:id="rId6"/>
    <p:sldId id="2150" r:id="rId7"/>
    <p:sldId id="2151" r:id="rId8"/>
    <p:sldId id="2152" r:id="rId9"/>
    <p:sldId id="2153" r:id="rId10"/>
    <p:sldId id="2154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81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585130"/>
            <a:ext cx="12048565" cy="631271"/>
          </a:xfrm>
          <a:prstGeom prst="rect">
            <a:avLst/>
          </a:prstGeom>
          <a:noFill/>
        </p:spPr>
        <p:txBody>
          <a:bodyPr lIns="288000"/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557" y="806213"/>
            <a:ext cx="4985751" cy="10225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489" y="2190448"/>
            <a:ext cx="809771" cy="58236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652" y="2267139"/>
            <a:ext cx="1646549" cy="45966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779" y="2160814"/>
            <a:ext cx="687847" cy="6878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657" y="2247151"/>
            <a:ext cx="1388363" cy="486995"/>
          </a:xfrm>
          <a:prstGeom prst="rect">
            <a:avLst/>
          </a:prstGeom>
        </p:spPr>
      </p:pic>
      <p:sp>
        <p:nvSpPr>
          <p:cNvPr id="22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214284"/>
            <a:ext cx="12048565" cy="594432"/>
          </a:xfrm>
        </p:spPr>
        <p:txBody>
          <a:bodyPr lIns="288000"/>
          <a:lstStyle>
            <a:lvl1pPr marL="0" indent="0">
              <a:buNone/>
              <a:defRPr sz="3733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142811"/>
            <a:ext cx="12048565" cy="594432"/>
          </a:xfrm>
        </p:spPr>
        <p:txBody>
          <a:bodyPr lIns="288000"/>
          <a:lstStyle>
            <a:lvl1pPr marL="0" indent="0">
              <a:buNone/>
              <a:defRPr sz="2667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8779933" y="806213"/>
            <a:ext cx="2997200" cy="1022555"/>
          </a:xfrm>
        </p:spPr>
        <p:txBody>
          <a:bodyPr anchor="ctr"/>
          <a:lstStyle>
            <a:lvl1pPr marL="0" indent="0" algn="ctr">
              <a:buNone/>
              <a:defRPr sz="1867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/>
              <a:t>Add additional </a:t>
            </a:r>
            <a:r>
              <a:rPr lang="de-DE" dirty="0" err="1"/>
              <a:t>logos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(e.g. Corporate Partners)</a:t>
            </a:r>
          </a:p>
        </p:txBody>
      </p:sp>
      <p:pic>
        <p:nvPicPr>
          <p:cNvPr id="16" name="Picture 2" descr="Das Logo der Universität – Universität Innsbruck">
            <a:extLst>
              <a:ext uri="{FF2B5EF4-FFF2-40B4-BE49-F238E27FC236}">
                <a16:creationId xmlns:a16="http://schemas.microsoft.com/office/drawing/2014/main" id="{A6095F9B-4721-4F9E-A6C2-55D89594F5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10549" y="514351"/>
            <a:ext cx="3649099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5457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614801" y="1974827"/>
            <a:ext cx="1973812" cy="465667"/>
          </a:xfrm>
        </p:spPr>
        <p:txBody>
          <a:bodyPr rIns="0"/>
          <a:lstStyle>
            <a:lvl1pPr marL="0" indent="0">
              <a:buNone/>
              <a:defRPr sz="1067" baseline="0"/>
            </a:lvl1pPr>
            <a:lvl2pPr marL="609585" indent="0">
              <a:buNone/>
              <a:defRPr sz="1067"/>
            </a:lvl2pPr>
            <a:lvl3pPr marL="1219170" indent="0">
              <a:buNone/>
              <a:defRPr sz="1067"/>
            </a:lvl3pPr>
            <a:lvl4pPr marL="1828754" indent="0">
              <a:buNone/>
              <a:defRPr sz="1067"/>
            </a:lvl4pPr>
            <a:lvl5pPr marL="2438339" indent="0">
              <a:buNone/>
              <a:defRPr sz="1067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instruc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40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15DE90-B64B-422D-AC41-BF7EE3EDC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906"/>
          <a:ext cx="2117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15DE90-B64B-422D-AC41-BF7EE3ED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7" cy="19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F4DF01-08D0-426B-9B7F-A57CD119CA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60" b="1" i="0" baseline="0" dirty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987ED-B944-4DCF-8A58-352876747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9C2B48-8405-42DD-B2B8-1E0AD385D5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3DC40E-DBBE-4E2D-9EEC-FBF0DA0E917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75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 advClick="0">
        <p159:morph option="byObject"/>
      </p:transition>
    </mc:Choice>
    <mc:Fallback xmlns="">
      <p:transition advClick="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74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1967541" y="3196199"/>
            <a:ext cx="9505123" cy="1576951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5A7FD6-D123-4040-ADB4-BF674BE8090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23659" y="3332989"/>
            <a:ext cx="8456685" cy="1440160"/>
          </a:xfrm>
        </p:spPr>
        <p:txBody>
          <a:bodyPr anchor="b"/>
          <a:lstStyle>
            <a:lvl1pPr marL="0" indent="0">
              <a:buNone/>
              <a:defRPr lang="de-DE" sz="3733" b="1" kern="1200" cap="all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AutoShape 4"/>
          <p:cNvSpPr>
            <a:spLocks noChangeArrowheads="1"/>
          </p:cNvSpPr>
          <p:nvPr userDrawn="1"/>
        </p:nvSpPr>
        <p:spPr bwMode="auto">
          <a:xfrm>
            <a:off x="1583499" y="2853492"/>
            <a:ext cx="1056117" cy="732120"/>
          </a:xfrm>
          <a:prstGeom prst="parallelogram">
            <a:avLst>
              <a:gd name="adj" fmla="val 51859"/>
            </a:avLst>
          </a:prstGeom>
          <a:solidFill>
            <a:srgbClr val="DDDDDD"/>
          </a:solidFill>
          <a:ln w="6350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wrap="none" lIns="96000" tIns="0" rIns="0" bIns="0" anchor="ctr"/>
          <a:lstStyle/>
          <a:p>
            <a:endParaRPr lang="en-US" sz="2400">
              <a:solidFill>
                <a:srgbClr val="4D4D4D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724411" y="2853267"/>
            <a:ext cx="768349" cy="732367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rgbClr val="4D4D4D"/>
                </a:solidFill>
              </a:defRPr>
            </a:lvl1pPr>
            <a:lvl2pPr marL="609585" indent="0">
              <a:buNone/>
              <a:defRPr>
                <a:solidFill>
                  <a:srgbClr val="4D4D4D"/>
                </a:solidFill>
              </a:defRPr>
            </a:lvl2pPr>
            <a:lvl3pPr marL="1219170" indent="0">
              <a:buNone/>
              <a:defRPr>
                <a:solidFill>
                  <a:srgbClr val="4D4D4D"/>
                </a:solidFill>
              </a:defRPr>
            </a:lvl3pPr>
            <a:lvl4pPr marL="1828754" indent="0">
              <a:buNone/>
              <a:defRPr>
                <a:solidFill>
                  <a:srgbClr val="4D4D4D"/>
                </a:solidFill>
              </a:defRPr>
            </a:lvl4pPr>
            <a:lvl5pPr marL="2438339" indent="0">
              <a:buNone/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6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7013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17792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3645B0-BDE2-4921-9064-919F375535C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88297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11425" y="1535113"/>
            <a:ext cx="519264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911425" y="2174875"/>
            <a:ext cx="519264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387716" y="1535113"/>
            <a:ext cx="519468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387716" y="2174875"/>
            <a:ext cx="519468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A8FC55-9A35-4639-A443-C97E65EA621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63090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0A52E8-636F-4C47-B9FE-131FD104A90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586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6E29C1-92FB-47AC-A495-CE3D64252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70482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025" y="1613537"/>
            <a:ext cx="10346192" cy="4624687"/>
          </a:xfrm>
        </p:spPr>
        <p:txBody>
          <a:bodyPr lIns="0" rIns="0"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68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AT" dirty="0"/>
              <a:t>Textmasterformat durch Klicken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371646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t"/>
          <a:lstStyle/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2283" y="1796819"/>
            <a:ext cx="11076516" cy="4146781"/>
          </a:xfrm>
        </p:spPr>
        <p:txBody>
          <a:bodyPr/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>
                <a:solidFill>
                  <a:srgbClr val="000000">
                    <a:tint val="75000"/>
                  </a:srgbClr>
                </a:solidFill>
              </a:rPr>
              <a:t>2023/12/01</a:t>
            </a:r>
          </a:p>
        </p:txBody>
      </p:sp>
    </p:spTree>
    <p:extLst>
      <p:ext uri="{BB962C8B-B14F-4D97-AF65-F5344CB8AC3E}">
        <p14:creationId xmlns:p14="http://schemas.microsoft.com/office/powerpoint/2010/main" val="1866806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3" y="1220754"/>
            <a:ext cx="11076516" cy="4722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, um Master-</a:t>
            </a:r>
            <a:r>
              <a:rPr lang="en-US" dirty="0" err="1"/>
              <a:t>Text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3082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597" y="6553281"/>
            <a:ext cx="719403" cy="2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lang="en-US" sz="1067" b="0" kern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fld id="{60571886-5EB1-4A85-9486-0BF5135B49D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744803" y="1594338"/>
            <a:ext cx="0" cy="508162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 sz="240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441531" y="6551560"/>
            <a:ext cx="2844800" cy="2979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23/12/01</a:t>
            </a:r>
            <a:endParaRPr lang="de-DE" dirty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129240" y="3240465"/>
            <a:ext cx="502584" cy="3430444"/>
            <a:chOff x="123125" y="2619165"/>
            <a:chExt cx="349275" cy="2384016"/>
          </a:xfrm>
        </p:grpSpPr>
        <p:pic>
          <p:nvPicPr>
            <p:cNvPr id="17" name="Grafik 16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4375" y="3597677"/>
              <a:ext cx="329428" cy="236918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64278" y="3207656"/>
              <a:ext cx="269623" cy="269623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6788" y="2808289"/>
              <a:ext cx="524735" cy="146488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47213" y="2789504"/>
              <a:ext cx="524735" cy="184060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225319" y="4368284"/>
              <a:ext cx="1053689" cy="216106"/>
            </a:xfrm>
            <a:prstGeom prst="rect">
              <a:avLst/>
            </a:prstGeom>
          </p:spPr>
        </p:pic>
      </p:grpSp>
      <p:pic>
        <p:nvPicPr>
          <p:cNvPr id="12" name="Picture 2" descr="Das Logo der Universität – Universität Innsbruck">
            <a:extLst>
              <a:ext uri="{FF2B5EF4-FFF2-40B4-BE49-F238E27FC236}">
                <a16:creationId xmlns:a16="http://schemas.microsoft.com/office/drawing/2014/main" id="{6B7B76CF-7692-4103-88C9-C55548D1D8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529835" y="1869417"/>
            <a:ext cx="182454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248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733" b="1" kern="1200" dirty="0" smtClean="0">
          <a:solidFill>
            <a:srgbClr val="336699"/>
          </a:solidFill>
          <a:latin typeface="Arial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5pPr>
      <a:lvl6pPr marL="609585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6pPr>
      <a:lvl7pPr marL="1219170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7pPr>
      <a:lvl8pPr marL="1828754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8pPr>
      <a:lvl9pPr marL="2438339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har char="•"/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sz="1867">
          <a:solidFill>
            <a:schemeClr val="tx1"/>
          </a:solidFill>
          <a:latin typeface="+mn-lt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1467">
          <a:solidFill>
            <a:schemeClr val="tx1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1467">
          <a:solidFill>
            <a:schemeClr val="tx1"/>
          </a:solidFill>
          <a:latin typeface="+mn-lt"/>
        </a:defRPr>
      </a:lvl5pPr>
      <a:lvl6pPr marL="335271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wrap="square" anchor="ctr">
            <a:normAutofit/>
          </a:bodyPr>
          <a:lstStyle/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fld id="{16AA89AE-ACA0-4717-B0BB-5A5FF89EF800}" type="slidenum">
              <a:rPr lang="en-US"/>
              <a:pPr defTabSz="1219170" fontAlgn="base">
                <a:spcBef>
                  <a:spcPct val="0"/>
                </a:spcBef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 anchor="ctr">
            <a:norm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/>
              <a:t>2025/07/30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E566FB0-2330-CE6D-AC8A-D94DF3BF74C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464137" y="1637020"/>
            <a:ext cx="10128096" cy="766762"/>
          </a:xfrm>
        </p:spPr>
        <p:txBody>
          <a:bodyPr/>
          <a:lstStyle/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Detection of Correlation Reversal Manipulation 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using Benford’s Law and Random Forest</a:t>
            </a:r>
          </a:p>
          <a:p>
            <a:pPr marL="0" indent="0">
              <a:spcAft>
                <a:spcPts val="800"/>
              </a:spcAft>
              <a:buNone/>
            </a:pPr>
            <a:endParaRPr lang="en-US" sz="3200" b="1" kern="100" dirty="0">
              <a:latin typeface="Aptos" panose="020B0004020202020204" pitchFamily="34" charset="0"/>
              <a:ea typeface="Yu Gothic" panose="020B0400000000000000" pitchFamily="34" charset="-128"/>
              <a:cs typeface="Cordia New" panose="020B0304020202020204" pitchFamily="34" charset="-34"/>
            </a:endParaRPr>
          </a:p>
          <a:p>
            <a:pPr marL="0" indent="0">
              <a:spcAft>
                <a:spcPts val="800"/>
              </a:spcAft>
              <a:buNone/>
            </a:pPr>
            <a:r>
              <a:rPr lang="en-US" sz="2800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Poj Netsiri,   TU Wien Data Science</a:t>
            </a:r>
          </a:p>
        </p:txBody>
      </p:sp>
    </p:spTree>
    <p:extLst>
      <p:ext uri="{BB962C8B-B14F-4D97-AF65-F5344CB8AC3E}">
        <p14:creationId xmlns:p14="http://schemas.microsoft.com/office/powerpoint/2010/main" val="116614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65B33D-C7BE-6A0C-BDD5-F8F17CCF01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A566-8C47-AA67-FD36-24E2F3936D0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4DA7CB-8035-99EC-438D-0839FBB04C6F}"/>
              </a:ext>
            </a:extLst>
          </p:cNvPr>
          <p:cNvSpPr txBox="1"/>
          <p:nvPr/>
        </p:nvSpPr>
        <p:spPr>
          <a:xfrm>
            <a:off x="1799481" y="570971"/>
            <a:ext cx="25939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/>
              <a:t>Conclu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FA89C-D8D6-FA64-ED62-8A10C098DCE1}"/>
              </a:ext>
            </a:extLst>
          </p:cNvPr>
          <p:cNvSpPr txBox="1"/>
          <p:nvPr/>
        </p:nvSpPr>
        <p:spPr>
          <a:xfrm>
            <a:off x="1514346" y="1508028"/>
            <a:ext cx="9784282" cy="44558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1. Benford’s law can detect data manipulation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2. Random Forest Algorithm can also detect data manipulation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3. Random Forest could approximate original data better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than Benford’s law (84% vs. 45%)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4. The original data was manipulated to show positive correlation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 between HP and MPG while still p &lt; 5%.</a:t>
            </a:r>
          </a:p>
          <a:p>
            <a:pPr>
              <a:lnSpc>
                <a:spcPct val="150000"/>
              </a:lnSpc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21383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7378" y="398975"/>
            <a:ext cx="5600229" cy="457200"/>
          </a:xfrm>
        </p:spPr>
        <p:txBody>
          <a:bodyPr/>
          <a:lstStyle/>
          <a:p>
            <a:r>
              <a:rPr lang="en-CA" dirty="0">
                <a:solidFill>
                  <a:schemeClr val="tx1"/>
                </a:solidFill>
              </a:rPr>
              <a:t>Q: Can we trust this data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60571886-5EB1-4A85-9486-0BF5135B49D5}" type="slidenum">
              <a:rPr lang="de-DE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FDCD59-39CB-C8C8-B5FB-F11CC70EE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2461" y="3704897"/>
            <a:ext cx="3672605" cy="2570823"/>
          </a:xfrm>
          <a:prstGeom prst="rect">
            <a:avLst/>
          </a:prstGeom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9669CDA7-F7A9-11CB-5AAA-289DC1826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7325" y="315945"/>
            <a:ext cx="3782877" cy="283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C5459CB-45CC-028A-649E-BB9038CC8FE8}"/>
              </a:ext>
            </a:extLst>
          </p:cNvPr>
          <p:cNvSpPr txBox="1"/>
          <p:nvPr/>
        </p:nvSpPr>
        <p:spPr>
          <a:xfrm>
            <a:off x="5544540" y="868690"/>
            <a:ext cx="21926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enford’s Law</a:t>
            </a:r>
          </a:p>
          <a:p>
            <a:pPr algn="ctr"/>
            <a:r>
              <a:rPr lang="en-US" dirty="0"/>
              <a:t>(Statistical Analysi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9AE23F-719F-4E66-92FC-BE9896DAFE41}"/>
              </a:ext>
            </a:extLst>
          </p:cNvPr>
          <p:cNvSpPr txBox="1"/>
          <p:nvPr/>
        </p:nvSpPr>
        <p:spPr>
          <a:xfrm>
            <a:off x="5598946" y="4624200"/>
            <a:ext cx="20838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andom Forest</a:t>
            </a:r>
          </a:p>
          <a:p>
            <a:r>
              <a:rPr lang="en-US" dirty="0"/>
              <a:t>(Machine Learning)</a:t>
            </a: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3CCA1935-EB5F-44A7-9F8C-6FB8E525C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533" y="1868820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A38DBE2-3DF8-2376-6432-6177B7E02894}"/>
              </a:ext>
            </a:extLst>
          </p:cNvPr>
          <p:cNvSpPr txBox="1"/>
          <p:nvPr/>
        </p:nvSpPr>
        <p:spPr>
          <a:xfrm>
            <a:off x="1337894" y="4680739"/>
            <a:ext cx="5215729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From a given data:</a:t>
            </a:r>
          </a:p>
          <a:p>
            <a:pPr>
              <a:lnSpc>
                <a:spcPct val="150000"/>
              </a:lnSpc>
            </a:pPr>
            <a:r>
              <a:rPr lang="en-US" i="1" dirty="0">
                <a:solidFill>
                  <a:srgbClr val="FF0000"/>
                </a:solidFill>
              </a:rPr>
              <a:t>r = 0.5, p =  3.5e-03</a:t>
            </a:r>
          </a:p>
          <a:p>
            <a:r>
              <a:rPr lang="en-US" sz="2000" dirty="0"/>
              <a:t>“</a:t>
            </a:r>
            <a:r>
              <a:rPr lang="en-US" sz="2000" i="1" dirty="0">
                <a:solidFill>
                  <a:srgbClr val="0070C0"/>
                </a:solidFill>
              </a:rPr>
              <a:t>The more horsepower we have, </a:t>
            </a:r>
          </a:p>
          <a:p>
            <a:r>
              <a:rPr lang="en-US" sz="2000" i="1" dirty="0">
                <a:solidFill>
                  <a:srgbClr val="0070C0"/>
                </a:solidFill>
              </a:rPr>
              <a:t>   the more miles per gallon we get</a:t>
            </a:r>
            <a:r>
              <a:rPr lang="en-US" sz="2000" i="1" dirty="0"/>
              <a:t>.”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597C543D-194F-7027-61CD-B3149745DF23}"/>
              </a:ext>
            </a:extLst>
          </p:cNvPr>
          <p:cNvSpPr/>
          <p:nvPr/>
        </p:nvSpPr>
        <p:spPr>
          <a:xfrm rot="1542743">
            <a:off x="5880762" y="3748134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2" descr="Inspector Icon Vector Art, Icons, and Graphics for Free Download">
            <a:extLst>
              <a:ext uri="{FF2B5EF4-FFF2-40B4-BE49-F238E27FC236}">
                <a16:creationId xmlns:a16="http://schemas.microsoft.com/office/drawing/2014/main" id="{662D83C0-979C-A97C-A30E-A9D4C682E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863" y="2473210"/>
            <a:ext cx="584006" cy="101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EC61703-9319-EB82-22CF-BEAF907C2658}"/>
              </a:ext>
            </a:extLst>
          </p:cNvPr>
          <p:cNvSpPr/>
          <p:nvPr/>
        </p:nvSpPr>
        <p:spPr>
          <a:xfrm rot="20563533">
            <a:off x="5880762" y="1726673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535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3/12/01</a:t>
            </a:r>
            <a:endParaRPr lang="de-DE" dirty="0">
              <a:solidFill>
                <a:srgbClr val="000000">
                  <a:tint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3AD044-42B4-F5D3-CC0A-DC46B668157C}"/>
              </a:ext>
            </a:extLst>
          </p:cNvPr>
          <p:cNvSpPr txBox="1"/>
          <p:nvPr/>
        </p:nvSpPr>
        <p:spPr>
          <a:xfrm>
            <a:off x="2815335" y="537559"/>
            <a:ext cx="73012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 Manipulation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7BF88147-385D-2063-E51D-6D73B627F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312" y="1836881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D2332C8-1414-99BF-0711-768BECBF7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464" y="1806911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FCC8ED19-E114-63EB-EF6D-FBFF35F141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9031" y="4618300"/>
            <a:ext cx="7305774" cy="137787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ptos" panose="020B0004020202020204" pitchFamily="34" charset="0"/>
                <a:ea typeface="Courier New" panose="02070309020205020404" pitchFamily="49" charset="0"/>
              </a:rPr>
              <a:t>Chi-square = 74.3017, p-value = 0.0000000000006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Criteria</a:t>
            </a:r>
            <a:r>
              <a:rPr lang="en-US" altLang="en-US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: </a:t>
            </a:r>
            <a:r>
              <a:rPr lang="en-US" altLang="en-US" b="1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Chi-square &gt; 30.58 and p &lt; 0.0001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Classified as </a:t>
            </a:r>
            <a:r>
              <a:rPr lang="en-US" altLang="en-US" sz="2400" b="1" dirty="0">
                <a:solidFill>
                  <a:srgbClr val="FF0000"/>
                </a:solidFill>
                <a:latin typeface="Aptos" panose="020B0004020202020204" pitchFamily="34" charset="0"/>
              </a:rPr>
              <a:t>manipulated </a:t>
            </a: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(anomaly and extreme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ptos" panose="020B0004020202020204" pitchFamily="34" charset="0"/>
              </a:rPr>
              <a:t>)</a:t>
            </a:r>
            <a:endParaRPr kumimoji="0" lang="en-US" altLang="en-US" sz="72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A729196E-29D6-5B19-333B-D9E999380C31}"/>
              </a:ext>
            </a:extLst>
          </p:cNvPr>
          <p:cNvSpPr/>
          <p:nvPr/>
        </p:nvSpPr>
        <p:spPr>
          <a:xfrm>
            <a:off x="5445334" y="263737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8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FB28B-9A2D-692E-3678-38A16D2A3E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D82D4D-FB74-E58E-00E0-2DA4C7C6A9F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B06ABE-9455-6AD1-EB90-4F54A05483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915" y="1949405"/>
            <a:ext cx="3115491" cy="2180843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CD71F3AA-B7C0-327F-E685-4F448E1F3B63}"/>
              </a:ext>
            </a:extLst>
          </p:cNvPr>
          <p:cNvSpPr/>
          <p:nvPr/>
        </p:nvSpPr>
        <p:spPr>
          <a:xfrm>
            <a:off x="3804931" y="25298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B49FC557-CE8A-16E5-42F2-B29A64612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012" y="3113776"/>
            <a:ext cx="1973329" cy="117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EBBC4EC-21AD-AE34-8C3B-093B35524270}"/>
              </a:ext>
            </a:extLst>
          </p:cNvPr>
          <p:cNvSpPr txBox="1"/>
          <p:nvPr/>
        </p:nvSpPr>
        <p:spPr>
          <a:xfrm>
            <a:off x="2778293" y="329131"/>
            <a:ext cx="74789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 Manipulation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EF87BD4-AA9F-EA0E-C351-103A231B3C8B}"/>
              </a:ext>
            </a:extLst>
          </p:cNvPr>
          <p:cNvSpPr/>
          <p:nvPr/>
        </p:nvSpPr>
        <p:spPr>
          <a:xfrm>
            <a:off x="8543646" y="260986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16874D-16DE-996C-2B3B-EA31A94DF813}"/>
              </a:ext>
            </a:extLst>
          </p:cNvPr>
          <p:cNvSpPr txBox="1"/>
          <p:nvPr/>
        </p:nvSpPr>
        <p:spPr>
          <a:xfrm>
            <a:off x="1290399" y="1161751"/>
            <a:ext cx="22137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 (Label=0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F98A03-2F10-63EF-3C9D-5A57D5B9CAC4}"/>
              </a:ext>
            </a:extLst>
          </p:cNvPr>
          <p:cNvSpPr txBox="1"/>
          <p:nvPr/>
        </p:nvSpPr>
        <p:spPr>
          <a:xfrm>
            <a:off x="1081015" y="2770755"/>
            <a:ext cx="2632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 (Label=1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9E5026-4BB3-DB8F-CFCA-5ECD327193AC}"/>
              </a:ext>
            </a:extLst>
          </p:cNvPr>
          <p:cNvSpPr txBox="1"/>
          <p:nvPr/>
        </p:nvSpPr>
        <p:spPr>
          <a:xfrm>
            <a:off x="5897357" y="1519159"/>
            <a:ext cx="19036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upervised Trainin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ED31A6D-3CF4-C816-7F72-77460876A3F6}"/>
              </a:ext>
            </a:extLst>
          </p:cNvPr>
          <p:cNvSpPr/>
          <p:nvPr/>
        </p:nvSpPr>
        <p:spPr>
          <a:xfrm>
            <a:off x="10257200" y="2638783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B54D488D-5A76-E544-7D49-B15B666B3750}"/>
              </a:ext>
            </a:extLst>
          </p:cNvPr>
          <p:cNvSpPr/>
          <p:nvPr/>
        </p:nvSpPr>
        <p:spPr>
          <a:xfrm>
            <a:off x="3804931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85D5EC5-E30E-470A-9728-19E1C4CD1CD0}"/>
              </a:ext>
            </a:extLst>
          </p:cNvPr>
          <p:cNvSpPr/>
          <p:nvPr/>
        </p:nvSpPr>
        <p:spPr>
          <a:xfrm>
            <a:off x="6924832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CA353C-B844-B4F7-06AE-111142ABE53F}"/>
              </a:ext>
            </a:extLst>
          </p:cNvPr>
          <p:cNvSpPr txBox="1"/>
          <p:nvPr/>
        </p:nvSpPr>
        <p:spPr>
          <a:xfrm>
            <a:off x="1277231" y="4642759"/>
            <a:ext cx="2201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ew Manipulated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5B9D17-BD76-41DF-02BF-63E7CB0F24DF}"/>
              </a:ext>
            </a:extLst>
          </p:cNvPr>
          <p:cNvSpPr txBox="1"/>
          <p:nvPr/>
        </p:nvSpPr>
        <p:spPr>
          <a:xfrm>
            <a:off x="5491808" y="4812036"/>
            <a:ext cx="1026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lassifi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0F0605-F779-720E-4DCE-4F45E7D0A7B0}"/>
              </a:ext>
            </a:extLst>
          </p:cNvPr>
          <p:cNvSpPr txBox="1"/>
          <p:nvPr/>
        </p:nvSpPr>
        <p:spPr>
          <a:xfrm>
            <a:off x="8311684" y="5340149"/>
            <a:ext cx="32943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lassified as </a:t>
            </a:r>
            <a:r>
              <a:rPr lang="en-US" sz="2400" b="1" dirty="0">
                <a:solidFill>
                  <a:srgbClr val="FF0000"/>
                </a:solidFill>
              </a:rPr>
              <a:t>manipulated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29" name="Picture 6">
            <a:extLst>
              <a:ext uri="{FF2B5EF4-FFF2-40B4-BE49-F238E27FC236}">
                <a16:creationId xmlns:a16="http://schemas.microsoft.com/office/drawing/2014/main" id="{6DE90B08-E5E5-01D8-57B0-1324D213B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231" y="4981313"/>
            <a:ext cx="2026890" cy="120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13436864-FBD3-17B9-222F-73EE28360461}"/>
              </a:ext>
            </a:extLst>
          </p:cNvPr>
          <p:cNvSpPr/>
          <p:nvPr/>
        </p:nvSpPr>
        <p:spPr>
          <a:xfrm rot="8524383">
            <a:off x="7440113" y="4037345"/>
            <a:ext cx="1326584" cy="623454"/>
          </a:xfrm>
          <a:prstGeom prst="rightArrow">
            <a:avLst/>
          </a:prstGeom>
          <a:solidFill>
            <a:srgbClr val="CC0099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4">
            <a:extLst>
              <a:ext uri="{FF2B5EF4-FFF2-40B4-BE49-F238E27FC236}">
                <a16:creationId xmlns:a16="http://schemas.microsoft.com/office/drawing/2014/main" id="{F33263DD-0534-3A0F-9CF2-75D662A79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835" y="1522055"/>
            <a:ext cx="1983682" cy="1183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5275A3E-B98F-029A-CC8A-FA885AE49C5D}"/>
              </a:ext>
            </a:extLst>
          </p:cNvPr>
          <p:cNvSpPr/>
          <p:nvPr/>
        </p:nvSpPr>
        <p:spPr>
          <a:xfrm>
            <a:off x="5514735" y="5274930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</p:spTree>
    <p:extLst>
      <p:ext uri="{BB962C8B-B14F-4D97-AF65-F5344CB8AC3E}">
        <p14:creationId xmlns:p14="http://schemas.microsoft.com/office/powerpoint/2010/main" val="410173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F63CFA35-DDC7-6FE5-B903-BA752A322196}"/>
              </a:ext>
            </a:extLst>
          </p:cNvPr>
          <p:cNvSpPr/>
          <p:nvPr/>
        </p:nvSpPr>
        <p:spPr>
          <a:xfrm>
            <a:off x="5432708" y="1939148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549791-AB3A-4D6E-A96D-EDF2F6AF8F48}"/>
              </a:ext>
            </a:extLst>
          </p:cNvPr>
          <p:cNvSpPr txBox="1"/>
          <p:nvPr/>
        </p:nvSpPr>
        <p:spPr>
          <a:xfrm>
            <a:off x="2120776" y="311834"/>
            <a:ext cx="8500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</a:t>
            </a:r>
            <a:r>
              <a:rPr lang="en-US" sz="2800" dirty="0"/>
              <a:t> </a:t>
            </a:r>
            <a:r>
              <a:rPr lang="en-US" sz="2800" b="1" dirty="0"/>
              <a:t>Correlation Reversal 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D2425C50-13D4-9971-F524-7BE0A1828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491" y="1108684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6902F17B-96CC-D710-1ACF-FAFF3F5C8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043" y="1015418"/>
            <a:ext cx="4174995" cy="247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08DFAA6-CDA3-2335-A41D-3A7E876BF493}"/>
              </a:ext>
            </a:extLst>
          </p:cNvPr>
          <p:cNvSpPr txBox="1"/>
          <p:nvPr/>
        </p:nvSpPr>
        <p:spPr>
          <a:xfrm>
            <a:off x="5385788" y="1341537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tochastic Simulation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66654F6-E99C-1C8A-4689-4A2C32E05B82}"/>
              </a:ext>
            </a:extLst>
          </p:cNvPr>
          <p:cNvSpPr/>
          <p:nvPr/>
        </p:nvSpPr>
        <p:spPr>
          <a:xfrm rot="8524383">
            <a:off x="5397198" y="3081339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BFE9C9A-6ADC-EACE-9033-CC25F1B43C60}"/>
              </a:ext>
            </a:extLst>
          </p:cNvPr>
          <p:cNvSpPr/>
          <p:nvPr/>
        </p:nvSpPr>
        <p:spPr>
          <a:xfrm>
            <a:off x="5579084" y="4246679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305858-5FDD-8EF6-5B8A-CEA1245A3912}"/>
              </a:ext>
            </a:extLst>
          </p:cNvPr>
          <p:cNvSpPr txBox="1"/>
          <p:nvPr/>
        </p:nvSpPr>
        <p:spPr>
          <a:xfrm>
            <a:off x="2308363" y="3509382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pic>
        <p:nvPicPr>
          <p:cNvPr id="20" name="Picture 24">
            <a:extLst>
              <a:ext uri="{FF2B5EF4-FFF2-40B4-BE49-F238E27FC236}">
                <a16:creationId xmlns:a16="http://schemas.microsoft.com/office/drawing/2014/main" id="{231E04DA-7459-0333-876F-7022A18E1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583" y="3777694"/>
            <a:ext cx="4017635" cy="280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B325E6C0-4B45-2306-E692-1E52C6126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721" y="3777694"/>
            <a:ext cx="4017638" cy="2803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18EBF5B-FA33-6821-A34C-B4E7EE7B4999}"/>
              </a:ext>
            </a:extLst>
          </p:cNvPr>
          <p:cNvSpPr txBox="1"/>
          <p:nvPr/>
        </p:nvSpPr>
        <p:spPr>
          <a:xfrm>
            <a:off x="3687429" y="4337682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egative</a:t>
            </a:r>
          </a:p>
          <a:p>
            <a:r>
              <a:rPr lang="en-US" dirty="0">
                <a:solidFill>
                  <a:srgbClr val="FF0000"/>
                </a:solidFill>
              </a:rPr>
              <a:t>Correlation</a:t>
            </a:r>
          </a:p>
        </p:txBody>
      </p:sp>
    </p:spTree>
    <p:extLst>
      <p:ext uri="{BB962C8B-B14F-4D97-AF65-F5344CB8AC3E}">
        <p14:creationId xmlns:p14="http://schemas.microsoft.com/office/powerpoint/2010/main" val="4010823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58A6E-4C54-B7DC-2952-8889481D0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8971F-81A7-9B00-A44B-372A16D2C6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5C4D26B-D09D-7D2C-839D-4D1D8EE02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034" y="1600606"/>
            <a:ext cx="3115491" cy="2180843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C7E7FF43-869B-02E8-F251-B0341A92E36F}"/>
              </a:ext>
            </a:extLst>
          </p:cNvPr>
          <p:cNvSpPr/>
          <p:nvPr/>
        </p:nvSpPr>
        <p:spPr>
          <a:xfrm>
            <a:off x="4030050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299726-DC85-6941-ED87-6D9BAC21F67F}"/>
              </a:ext>
            </a:extLst>
          </p:cNvPr>
          <p:cNvSpPr txBox="1"/>
          <p:nvPr/>
        </p:nvSpPr>
        <p:spPr>
          <a:xfrm>
            <a:off x="2175429" y="356701"/>
            <a:ext cx="86047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</a:t>
            </a:r>
            <a:r>
              <a:rPr lang="en-US" sz="2800" dirty="0"/>
              <a:t> </a:t>
            </a:r>
            <a:r>
              <a:rPr lang="en-US" sz="2800" b="1" dirty="0"/>
              <a:t>Correlation Reversal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31A3DDF-1045-E536-ABE0-7D7A04550503}"/>
              </a:ext>
            </a:extLst>
          </p:cNvPr>
          <p:cNvSpPr/>
          <p:nvPr/>
        </p:nvSpPr>
        <p:spPr>
          <a:xfrm>
            <a:off x="8768765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F0201C24-D079-03AF-660F-A829B241B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85" y="1832529"/>
            <a:ext cx="2878151" cy="171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330D660-6FF0-911F-DED3-DBB15D9B838E}"/>
              </a:ext>
            </a:extLst>
          </p:cNvPr>
          <p:cNvSpPr txBox="1"/>
          <p:nvPr/>
        </p:nvSpPr>
        <p:spPr>
          <a:xfrm>
            <a:off x="1796616" y="1431200"/>
            <a:ext cx="1342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2BBDF0-800C-7BD2-48B4-7846699C650B}"/>
              </a:ext>
            </a:extLst>
          </p:cNvPr>
          <p:cNvSpPr txBox="1"/>
          <p:nvPr/>
        </p:nvSpPr>
        <p:spPr>
          <a:xfrm>
            <a:off x="6570051" y="1322630"/>
            <a:ext cx="871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aining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A3BAF27-7F84-C085-37E9-4B4A147B86FC}"/>
              </a:ext>
            </a:extLst>
          </p:cNvPr>
          <p:cNvSpPr/>
          <p:nvPr/>
        </p:nvSpPr>
        <p:spPr>
          <a:xfrm>
            <a:off x="10482319" y="2408223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272EBFC0-7CC0-0323-F888-C1D5AEE3D2D7}"/>
              </a:ext>
            </a:extLst>
          </p:cNvPr>
          <p:cNvSpPr/>
          <p:nvPr/>
        </p:nvSpPr>
        <p:spPr>
          <a:xfrm>
            <a:off x="4254819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AC3BAB9-D84C-DD90-F845-463712C42FDD}"/>
              </a:ext>
            </a:extLst>
          </p:cNvPr>
          <p:cNvSpPr/>
          <p:nvPr/>
        </p:nvSpPr>
        <p:spPr>
          <a:xfrm>
            <a:off x="7317180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E026C4-7D3F-5F97-9B82-898DA6B20693}"/>
              </a:ext>
            </a:extLst>
          </p:cNvPr>
          <p:cNvSpPr txBox="1"/>
          <p:nvPr/>
        </p:nvSpPr>
        <p:spPr>
          <a:xfrm>
            <a:off x="1655287" y="3907763"/>
            <a:ext cx="1761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64539-5402-71FE-FC47-C23135D8B65B}"/>
              </a:ext>
            </a:extLst>
          </p:cNvPr>
          <p:cNvSpPr txBox="1"/>
          <p:nvPr/>
        </p:nvSpPr>
        <p:spPr>
          <a:xfrm>
            <a:off x="5923030" y="4477512"/>
            <a:ext cx="11304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gressor</a:t>
            </a:r>
          </a:p>
        </p:txBody>
      </p:sp>
      <p:pic>
        <p:nvPicPr>
          <p:cNvPr id="30" name="Picture 6">
            <a:extLst>
              <a:ext uri="{FF2B5EF4-FFF2-40B4-BE49-F238E27FC236}">
                <a16:creationId xmlns:a16="http://schemas.microsoft.com/office/drawing/2014/main" id="{F7F3A857-E337-1419-C4F6-04B285D7E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15" y="4243303"/>
            <a:ext cx="2965290" cy="176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ABC7E210-E4A9-97FB-CF2E-3CE2FCDE7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458" y="4260779"/>
            <a:ext cx="2921721" cy="173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1055D09-C1CA-B164-751F-054192023FD1}"/>
              </a:ext>
            </a:extLst>
          </p:cNvPr>
          <p:cNvSpPr txBox="1"/>
          <p:nvPr/>
        </p:nvSpPr>
        <p:spPr>
          <a:xfrm>
            <a:off x="9582730" y="3907763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2A9F7F-7E79-EA5A-4C43-04F4608ED8B6}"/>
              </a:ext>
            </a:extLst>
          </p:cNvPr>
          <p:cNvSpPr txBox="1"/>
          <p:nvPr/>
        </p:nvSpPr>
        <p:spPr>
          <a:xfrm>
            <a:off x="10672120" y="4477512"/>
            <a:ext cx="15198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Negativ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Correl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485D5514-1FD1-1F3F-7818-B362221FE749}"/>
              </a:ext>
            </a:extLst>
          </p:cNvPr>
          <p:cNvSpPr/>
          <p:nvPr/>
        </p:nvSpPr>
        <p:spPr>
          <a:xfrm rot="8524383">
            <a:off x="7532835" y="36770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4BB0CBF-39DB-4C74-08FB-827F377476E8}"/>
              </a:ext>
            </a:extLst>
          </p:cNvPr>
          <p:cNvSpPr/>
          <p:nvPr/>
        </p:nvSpPr>
        <p:spPr>
          <a:xfrm>
            <a:off x="5968238" y="4844989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</p:spTree>
    <p:extLst>
      <p:ext uri="{BB962C8B-B14F-4D97-AF65-F5344CB8AC3E}">
        <p14:creationId xmlns:p14="http://schemas.microsoft.com/office/powerpoint/2010/main" val="4206260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732520-98D0-62CB-7446-EC8BA49894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272BE3B4-BE15-FC4C-FF73-9E0D3C6FA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413" y="342900"/>
            <a:ext cx="9363075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79E8D9-A228-0E73-1697-7B38D4893EC0}"/>
              </a:ext>
            </a:extLst>
          </p:cNvPr>
          <p:cNvSpPr txBox="1"/>
          <p:nvPr/>
        </p:nvSpPr>
        <p:spPr>
          <a:xfrm>
            <a:off x="2719407" y="4816698"/>
            <a:ext cx="617878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</a:t>
            </a:r>
            <a:r>
              <a:rPr lang="en-US" sz="2400" i="1" dirty="0">
                <a:solidFill>
                  <a:srgbClr val="FF0000"/>
                </a:solidFill>
              </a:rPr>
              <a:t>The more horsepower we have, </a:t>
            </a:r>
          </a:p>
          <a:p>
            <a:r>
              <a:rPr lang="en-US" sz="2400" i="1" dirty="0">
                <a:solidFill>
                  <a:srgbClr val="FF0000"/>
                </a:solidFill>
              </a:rPr>
              <a:t>    the fewer miles per gallon we get.”</a:t>
            </a:r>
          </a:p>
        </p:txBody>
      </p:sp>
    </p:spTree>
    <p:extLst>
      <p:ext uri="{BB962C8B-B14F-4D97-AF65-F5344CB8AC3E}">
        <p14:creationId xmlns:p14="http://schemas.microsoft.com/office/powerpoint/2010/main" val="2967259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3F563E-EB74-FDD5-C0BC-F6EE3AF05D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844D3FF6-1F15-CEDC-1BF6-552B556B9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674" y="186307"/>
            <a:ext cx="9372600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1A90E3-5B82-D074-89E1-70628451CBCA}"/>
              </a:ext>
            </a:extLst>
          </p:cNvPr>
          <p:cNvSpPr txBox="1"/>
          <p:nvPr/>
        </p:nvSpPr>
        <p:spPr>
          <a:xfrm>
            <a:off x="4495400" y="696879"/>
            <a:ext cx="57793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</a:t>
            </a:r>
            <a:r>
              <a:rPr lang="en-US" sz="2400" i="1" dirty="0">
                <a:solidFill>
                  <a:srgbClr val="FF0000"/>
                </a:solidFill>
              </a:rPr>
              <a:t>The more horsepower we have, </a:t>
            </a:r>
          </a:p>
          <a:p>
            <a:r>
              <a:rPr lang="en-US" sz="2400" i="1" dirty="0">
                <a:solidFill>
                  <a:srgbClr val="FF0000"/>
                </a:solidFill>
              </a:rPr>
              <a:t>     the fewer miles per gallon we get.”</a:t>
            </a:r>
          </a:p>
        </p:txBody>
      </p:sp>
    </p:spTree>
    <p:extLst>
      <p:ext uri="{BB962C8B-B14F-4D97-AF65-F5344CB8AC3E}">
        <p14:creationId xmlns:p14="http://schemas.microsoft.com/office/powerpoint/2010/main" val="2458424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A86B83-8EFE-EAAA-03D3-E14735806F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7EAD70-5D74-3D51-F831-DC198C785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576" y="4201517"/>
            <a:ext cx="8911958" cy="20550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8486792-B4C9-051C-AFF7-9A9AA97A7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164" y="1468362"/>
            <a:ext cx="10199671" cy="21462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73BCA5-F8DF-50EF-437C-E08A9C28BA4F}"/>
              </a:ext>
            </a:extLst>
          </p:cNvPr>
          <p:cNvSpPr txBox="1"/>
          <p:nvPr/>
        </p:nvSpPr>
        <p:spPr>
          <a:xfrm>
            <a:off x="1325551" y="390104"/>
            <a:ext cx="89336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Evaluation of Random Forest Classifier and Regressor</a:t>
            </a:r>
          </a:p>
        </p:txBody>
      </p:sp>
    </p:spTree>
    <p:extLst>
      <p:ext uri="{BB962C8B-B14F-4D97-AF65-F5344CB8AC3E}">
        <p14:creationId xmlns:p14="http://schemas.microsoft.com/office/powerpoint/2010/main" val="312061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ZLAafLS62MkIWAKHPZ3Q"/>
</p:tagLst>
</file>

<file path=ppt/theme/theme1.xml><?xml version="1.0" encoding="utf-8"?>
<a:theme xmlns:a="http://schemas.openxmlformats.org/drawingml/2006/main" name="Lehrstuhl-Präsentation quer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33CC"/>
      </a:hlink>
      <a:folHlink>
        <a:srgbClr val="B2B2B2"/>
      </a:folHlink>
    </a:clrScheme>
    <a:fontScheme name="Lehrstuhl-Präsentation que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>
        <a:defPPr algn="ctr">
          <a:defRPr sz="1800"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Lehrstuhl-Präsentation qu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hrstuhl-Präsentation qu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289</Words>
  <Application>Microsoft Office PowerPoint</Application>
  <PresentationFormat>Widescreen</PresentationFormat>
  <Paragraphs>71</Paragraphs>
  <Slides>10</Slides>
  <Notes>0</Notes>
  <HiddenSlides>6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Arial Narrow</vt:lpstr>
      <vt:lpstr>Georgia</vt:lpstr>
      <vt:lpstr>Verdana</vt:lpstr>
      <vt:lpstr>Lehrstuhl-Präsentation quer</vt:lpstr>
      <vt:lpstr>think-cell Slide</vt:lpstr>
      <vt:lpstr>PowerPoint Presentation</vt:lpstr>
      <vt:lpstr>Q: Can we trust this data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ienna University of Economics and Busine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üllner, Jakob</dc:creator>
  <cp:lastModifiedBy>Poj</cp:lastModifiedBy>
  <cp:revision>11</cp:revision>
  <dcterms:created xsi:type="dcterms:W3CDTF">2024-07-08T13:00:33Z</dcterms:created>
  <dcterms:modified xsi:type="dcterms:W3CDTF">2025-07-09T18:34:57Z</dcterms:modified>
</cp:coreProperties>
</file>